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7" r:id="rId4"/>
  </p:sldMasterIdLst>
  <p:notesMasterIdLst>
    <p:notesMasterId r:id="rId21"/>
  </p:notes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6" r:id="rId14"/>
    <p:sldId id="271" r:id="rId15"/>
    <p:sldId id="267" r:id="rId16"/>
    <p:sldId id="268" r:id="rId17"/>
    <p:sldId id="265" r:id="rId18"/>
    <p:sldId id="269" r:id="rId19"/>
    <p:sldId id="270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zhalika Levandouskaya" initials="AL" lastIdx="43" clrIdx="0">
    <p:extLst>
      <p:ext uri="{19B8F6BF-5375-455C-9EA6-DF929625EA0E}">
        <p15:presenceInfo xmlns:p15="http://schemas.microsoft.com/office/powerpoint/2012/main" userId="S::Anzhalika_Levandouskaya@epam.com::92adfee3-e19f-494c-b48e-2a057e813db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8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FD8C84-37A4-4848-A5CC-DED6E5E98C62}" v="63" dt="2021-07-02T09:45:30.9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28"/>
    <p:restoredTop sz="94694"/>
  </p:normalViewPr>
  <p:slideViewPr>
    <p:cSldViewPr snapToGrid="0">
      <p:cViewPr varScale="1">
        <p:scale>
          <a:sx n="121" d="100"/>
          <a:sy n="121" d="100"/>
        </p:scale>
        <p:origin x="952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DA449-81D0-4C65-80FA-E84926361CC3}" type="datetimeFigureOut">
              <a:rPr lang="en-US" smtClean="0"/>
              <a:t>2/15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A5C3A5-A464-4897-B884-BB9B35180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570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A5C3A5-A464-4897-B884-BB9B35180A5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267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A5C3A5-A464-4897-B884-BB9B35180A5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9132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A5C3A5-A464-4897-B884-BB9B35180A5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7161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A5C3A5-A464-4897-B884-BB9B35180A5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7267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A5C3A5-A464-4897-B884-BB9B35180A5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697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A5C3A5-A464-4897-B884-BB9B35180A5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410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epa.ms/stories" TargetMode="Externa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bg2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23 OCTOBER 2020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21FFBE-FD73-4914-B88C-A205297E29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1FA7817-3B6C-3F4A-B7B9-1C24248B0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764213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3115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3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Up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817990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4F57360-96E0-124A-8B27-F0C4589ED9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912147"/>
            <a:ext cx="1127455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1916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99213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141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-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67E2E61-17F9-0842-9210-A1111E25B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553998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548B8AD-0CC3-5248-932C-F8A325C1B4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BE6B5C5-2BAC-FD6B-0C38-1084A40930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537415"/>
            <a:ext cx="11280651" cy="1816010"/>
          </a:xfrm>
        </p:spPr>
        <p:txBody>
          <a:bodyPr>
            <a:spAutoFit/>
          </a:bodyPr>
          <a:lstStyle>
            <a:lvl1pPr>
              <a:defRPr sz="1800">
                <a:ln>
                  <a:noFill/>
                </a:ln>
                <a:solidFill>
                  <a:schemeClr val="bg1"/>
                </a:solidFill>
              </a:defRPr>
            </a:lvl1pPr>
            <a:lvl2pPr>
              <a:defRPr sz="1800"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 sz="1800"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 sz="1800"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 sz="1800"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781488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3619500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C0BE653-C375-415A-859B-2A7348B8E4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6250" y="1600200"/>
            <a:ext cx="4991100" cy="18823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6275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-34032" y="0"/>
            <a:ext cx="6022081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3619500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C0BE653-C375-415A-859B-2A7348B8E4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6250" y="1600200"/>
            <a:ext cx="4991100" cy="18823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Isosceles Triangle 13">
            <a:extLst>
              <a:ext uri="{FF2B5EF4-FFF2-40B4-BE49-F238E27FC236}">
                <a16:creationId xmlns:a16="http://schemas.microsoft.com/office/drawing/2014/main" id="{33DA4BCA-E06D-9C46-8E45-43243DD633D7}"/>
              </a:ext>
            </a:extLst>
          </p:cNvPr>
          <p:cNvSpPr/>
          <p:nvPr userDrawn="1"/>
        </p:nvSpPr>
        <p:spPr>
          <a:xfrm rot="5400000" flipH="1">
            <a:off x="2835445" y="3152602"/>
            <a:ext cx="6858002" cy="552793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342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9" y="1143000"/>
            <a:ext cx="4797425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F520AD5-0FFD-4C8E-9342-58316930E0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1412" y="1143000"/>
            <a:ext cx="4797425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199" y="2077282"/>
            <a:ext cx="4797425" cy="283199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, at id non </a:t>
            </a:r>
            <a:r>
              <a:rPr lang="en-US" err="1"/>
              <a:t>enim</a:t>
            </a:r>
            <a:r>
              <a:rPr lang="en-US"/>
              <a:t>, </a:t>
            </a:r>
            <a:r>
              <a:rPr lang="en-US" err="1"/>
              <a:t>hac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cras</a:t>
            </a:r>
            <a:r>
              <a:rPr lang="en-US"/>
              <a:t> vitae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Adipiscing</a:t>
            </a:r>
            <a:r>
              <a:rPr lang="en-US"/>
              <a:t> vestibulum, </a:t>
            </a:r>
            <a:r>
              <a:rPr lang="en-US" err="1"/>
              <a:t>natoque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id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Elementum</a:t>
            </a:r>
            <a:r>
              <a:rPr lang="en-US"/>
              <a:t> vel </a:t>
            </a:r>
            <a:r>
              <a:rPr lang="en-US" err="1"/>
              <a:t>augue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D1A126B-ECBC-446E-8C9B-41282A70F0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1412" y="2077282"/>
            <a:ext cx="4797425" cy="283199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, at id non </a:t>
            </a:r>
            <a:r>
              <a:rPr lang="en-US" err="1"/>
              <a:t>enim</a:t>
            </a:r>
            <a:r>
              <a:rPr lang="en-US"/>
              <a:t>, </a:t>
            </a:r>
            <a:r>
              <a:rPr lang="en-US" err="1"/>
              <a:t>hac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cras</a:t>
            </a:r>
            <a:r>
              <a:rPr lang="en-US"/>
              <a:t> vitae </a:t>
            </a:r>
            <a:r>
              <a:rPr lang="en-US" err="1"/>
              <a:t>amet</a:t>
            </a:r>
            <a:r>
              <a:rPr lang="en-US"/>
              <a:t>. </a:t>
            </a:r>
            <a:r>
              <a:rPr lang="en-US" err="1"/>
              <a:t>Adipiscing</a:t>
            </a:r>
            <a:r>
              <a:rPr lang="en-US"/>
              <a:t> vestibulum, </a:t>
            </a:r>
            <a:r>
              <a:rPr lang="en-US" err="1"/>
              <a:t>natoque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id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Elementum</a:t>
            </a:r>
            <a:r>
              <a:rPr lang="en-US"/>
              <a:t> vel </a:t>
            </a:r>
            <a:r>
              <a:rPr lang="en-US" err="1"/>
              <a:t>augue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7370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143000"/>
            <a:ext cx="3312160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2067560"/>
            <a:ext cx="3312160" cy="354295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9920" y="1143000"/>
            <a:ext cx="3312160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9920" y="2067560"/>
            <a:ext cx="3312160" cy="354295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22640" y="1143000"/>
            <a:ext cx="3312160" cy="59413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22640" y="2067560"/>
            <a:ext cx="3312160" cy="354295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014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55192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5519275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400" spc="300" dirty="0">
                <a:solidFill>
                  <a:schemeClr val="bg2"/>
                </a:solidFill>
                <a:effectLst/>
              </a:defRPr>
            </a:lvl1pPr>
            <a:lvl2pPr>
              <a:buNone/>
              <a:defRPr/>
            </a:lvl2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April 2021</a:t>
            </a:r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1A216CA-E680-42EB-BC45-95A09D6275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1AA8C38-4FF3-4F33-8B0F-196D0BC791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FB842CEE-8A53-0D42-A72B-7D63B1ED3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269617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2010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6D646D-415F-4D4E-B837-24C4E1CE09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371600"/>
            <a:ext cx="5764213" cy="3886200"/>
          </a:xfrm>
          <a:prstGeom prst="rect">
            <a:avLst/>
          </a:prstGeom>
        </p:spPr>
        <p:txBody>
          <a:bodyPr/>
          <a:lstStyle>
            <a:lvl1pPr>
              <a:defRPr sz="6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arge statement combined with supporting </a:t>
            </a:r>
            <a:br>
              <a:rPr lang="en-US"/>
            </a:br>
            <a:r>
              <a:rPr lang="en-US"/>
              <a:t>text her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330B547-343B-414C-8E1F-67C7C72B2F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6901" y="16002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</p:spTree>
    <p:extLst>
      <p:ext uri="{BB962C8B-B14F-4D97-AF65-F5344CB8AC3E}">
        <p14:creationId xmlns:p14="http://schemas.microsoft.com/office/powerpoint/2010/main" val="30638495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F557E5-085D-F44F-B30C-91E51AE491D3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E178E08-6B21-2843-9385-4D9886760A91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E8C029E-1B45-494C-B838-1704772FF7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6C1CA1B-2E41-DA49-A688-13BC11756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6546028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31057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4955F73-BCD8-4858-BDA2-D30A6DDD9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2568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DB3700-A2AA-CC46-AB06-739575CE119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8F2DB0F-A762-9841-A4D7-8B6F3D5251E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BAA6E4E-7596-A644-93F2-6ABBAFCD6B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2021" y="964562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182FF9AB-2A1C-E54B-B99E-245DE32DD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82020" y="3200114"/>
            <a:ext cx="3291840" cy="246221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>
            <a:lvl1pPr>
              <a:defRPr lang="en-US" sz="1600" b="1" cap="none" spc="100" baseline="0" smtClean="0">
                <a:solidFill>
                  <a:schemeClr val="tx1"/>
                </a:solidFill>
                <a:ea typeface="+mj-ea"/>
                <a:cs typeface="+mj-cs"/>
              </a:defRPr>
            </a:lvl1pPr>
            <a:lvl2pPr marL="171450" indent="0">
              <a:buNone/>
              <a:defRPr lang="en-US" sz="1350" smtClean="0"/>
            </a:lvl2pPr>
            <a:lvl3pPr>
              <a:defRPr lang="en-US" sz="1350" smtClean="0"/>
            </a:lvl3pPr>
            <a:lvl4pPr>
              <a:defRPr lang="en-US" sz="1350" smtClean="0"/>
            </a:lvl4pPr>
            <a:lvl5pPr>
              <a:defRPr lang="en-US" sz="135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59EA3FB-C095-0948-83CD-4F812F3CA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61082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294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-1/2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9366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69900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211704-E6A2-554A-83D7-019EF0F003D0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4E06C20-AA8E-8342-A500-79B18C39022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03B5AFB-E799-0442-BA28-6AF5A02967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54095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924339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211704-E6A2-554A-83D7-019EF0F003D0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4E06C20-AA8E-8342-A500-79B18C39022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96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5EB0785-A8B2-B844-97DC-362F6DEDBA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236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Lef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300D359-43E3-7747-A509-348C3E3004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819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002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D48285-8885-4D22-8AE4-172AF61141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D02C5AA0-D8CE-634A-97A8-97B2BC7150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750798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188486-1E04-4170-877E-F561315E0F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bg1">
                    <a:lumMod val="95000"/>
                  </a:schemeClr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23 OCTOBER 2020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E8C851A-E2E7-4523-9F42-0BB009E564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D6769452-030B-5548-B575-999D639F6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764213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5613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5D96D1E-C1BD-6F40-A978-D03F53CD4A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1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0" y="0"/>
            <a:ext cx="31083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2407920" cy="677108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8325" y="0"/>
            <a:ext cx="908367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6876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1BCE546-F0EF-2742-9891-475F8219D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99646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2196D5E-2DE5-E948-A22F-E057A6B999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607523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27353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13153"/>
            <a:ext cx="4784852" cy="296574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F61EEF5-D25E-43F9-9DE7-B0D48CE58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E184C37-FA49-E94C-B478-B1492E6E7F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000874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2407920" cy="677108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CB0227B-1090-48E9-B33D-CB9CA73DF05F}"/>
              </a:ext>
            </a:extLst>
          </p:cNvPr>
          <p:cNvSpPr/>
          <p:nvPr userDrawn="1"/>
        </p:nvSpPr>
        <p:spPr bwMode="auto">
          <a:xfrm flipH="1">
            <a:off x="3108325" y="0"/>
            <a:ext cx="90836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CC76E4-4D68-894E-AF17-C8188D17CE71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4E5246D-43F4-5946-BF12-EAA7EF1F6B9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46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E70CA8-AE5E-9144-B51A-3DB9B2B912F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2E37B5-D917-F347-A92A-FFF42F041E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8B879C7-3885-2143-A73F-46BF26852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C884B43-5420-8A44-BD3B-D88B17EDD05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494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8C65148-4BCC-48BC-8E7B-05AA01088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713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B55E40-4D84-A94C-A4CB-F465F24AE156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0D87F5D-4F0F-994A-BFA6-46BC2DD6C51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6A52748-F772-0748-94C9-3767AF238C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76920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D51ED0-4D08-4641-87AC-8F2B5E2A3B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A703936-AD1E-BD44-91CB-919F81D7BFEC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D1BED4F-175D-FF44-A003-4A5C8D2123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091CD3F7-14AE-A849-9B73-75D2354D48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090E848-D90D-3040-B1C3-7D33F1A7A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27353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0EAA2BB-1929-1344-BB72-B8696E5C93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13153"/>
            <a:ext cx="4784852" cy="296574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6C52A15-EBCB-2E4D-B9B0-C28E4B5B7D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024952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44CDB4-CF54-423C-9681-C9AAACA56B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74CC298-22F4-2C44-B143-5C071C1464AE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4434E4-9DFC-C54A-8FA5-A3977779F6D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7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Pic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1376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376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7032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7032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D35C967-D122-42CE-BDAF-F34B55F00E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2688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4FDC613-45BE-47C3-82C5-FC027C2DE4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2688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84AF8F5-D562-4FBF-9069-09A640AACD0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3731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Picture Placeholder 23">
            <a:extLst>
              <a:ext uri="{FF2B5EF4-FFF2-40B4-BE49-F238E27FC236}">
                <a16:creationId xmlns:a16="http://schemas.microsoft.com/office/drawing/2014/main" id="{4F5537FA-B25A-4A75-AFE8-CB3D2D4EA78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13442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62EC0755-06FE-418F-830B-3953EAC2B2B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63153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7" name="Picture Placeholder 23">
            <a:extLst>
              <a:ext uri="{FF2B5EF4-FFF2-40B4-BE49-F238E27FC236}">
                <a16:creationId xmlns:a16="http://schemas.microsoft.com/office/drawing/2014/main" id="{5145A383-DF32-4D59-98B6-07591E0CE3E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312864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160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>
            <a:extLst>
              <a:ext uri="{FF2B5EF4-FFF2-40B4-BE49-F238E27FC236}">
                <a16:creationId xmlns:a16="http://schemas.microsoft.com/office/drawing/2014/main" id="{7D36EB9C-BBDB-7447-884B-AC6C7C7D1D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E784D3-D287-664F-80A6-CBA29DD12F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9A1CE94-599A-5146-9EFB-9AEECE4367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0E828E5-70FD-D449-B964-390D8366EA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3D1ADF7-7F17-9F4A-A000-26CFD756A3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C8974FB4-0DC4-9A48-849B-3445C1732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B70AEBB-A750-864B-B6BD-21B4D0EFE2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A80AC0-F1D6-7541-A91C-C279FD1948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8BEB51A-F18F-5749-809D-EC078A513A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735154-D863-074C-BEF0-25E8F08360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373B72A-00B1-9E4F-BC7F-202B2AC57F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584DDAC-74C3-8649-AA09-BE37E59266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BE98457-B105-874C-9706-66BA69C1A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6C8558E-5624-D848-B1A3-4B79F93D0AC1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8954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124960"/>
            <a:ext cx="3312160" cy="246221"/>
          </a:xfrm>
        </p:spPr>
        <p:txBody>
          <a:bodyPr>
            <a:spAutoFit/>
          </a:bodyPr>
          <a:lstStyle>
            <a:lvl1pPr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0767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F7B19A9-71C0-403D-B507-22838A53F1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6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584A1708-3D5F-4AC2-B35F-FB446EFEB7C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0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BF9D5A-73E5-43EB-95F4-FF56369516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4697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AC52B6B-2068-4BD5-8D7B-E2AA5CC14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6449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56DCAB-CD09-4E29-A907-70E7EBE0E6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125" y="4124325"/>
            <a:ext cx="3311525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C9A5C7D-52BE-42FF-9382-B63BBD810F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406449" y="4114800"/>
            <a:ext cx="3312160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8340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B615E796-86B4-4C38-A923-10DBDCC4B9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3" y="6469379"/>
            <a:ext cx="1382049" cy="91440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5D56692-426B-4F40-8BC1-45B989D441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777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2D43E18-54F7-4125-A364-D733497B4F3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7555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0D751945-7936-4E08-A1DF-7F344072146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6333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C432762-A502-4EDF-9936-2F1B5B291C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43F49D1-094C-794E-ADD9-2E27004213E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B996F9F-D55F-FD42-A589-2783B304344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mtClean="0">
                <a:solidFill>
                  <a:schemeClr val="tx1"/>
                </a:solidFill>
              </a:rPr>
              <a:pPr lvl="0"/>
              <a:t>‹#›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0376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ABDB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397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71FB1-EED5-E148-9A93-A29EB92D1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6397" y="1220724"/>
            <a:ext cx="7892478" cy="2712730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50000"/>
              </a:lnSpc>
              <a:defRPr sz="2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61F754-B893-AE42-8D75-BA81D1A9A8FF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BD9E730-867D-BF4D-8996-7605F868D97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0D6E288-882B-514C-B335-273A187E20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grpSp>
        <p:nvGrpSpPr>
          <p:cNvPr id="8" name="Graphic 4">
            <a:extLst>
              <a:ext uri="{FF2B5EF4-FFF2-40B4-BE49-F238E27FC236}">
                <a16:creationId xmlns:a16="http://schemas.microsoft.com/office/drawing/2014/main" id="{823A4988-0868-304B-AD24-7AFF2D3D342A}"/>
              </a:ext>
            </a:extLst>
          </p:cNvPr>
          <p:cNvGrpSpPr/>
          <p:nvPr userDrawn="1"/>
        </p:nvGrpSpPr>
        <p:grpSpPr>
          <a:xfrm>
            <a:off x="494098" y="2286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DBA4B6-758F-E547-A4C5-72E7C40C04B9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67A9479-37D0-E448-A740-1DFA8790CA9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" name="Graphic 4">
            <a:extLst>
              <a:ext uri="{FF2B5EF4-FFF2-40B4-BE49-F238E27FC236}">
                <a16:creationId xmlns:a16="http://schemas.microsoft.com/office/drawing/2014/main" id="{981FF5D2-40D7-B048-B33B-B448FA5F16F4}"/>
              </a:ext>
            </a:extLst>
          </p:cNvPr>
          <p:cNvGrpSpPr/>
          <p:nvPr userDrawn="1"/>
        </p:nvGrpSpPr>
        <p:grpSpPr>
          <a:xfrm rot="10800000">
            <a:off x="10425627" y="52197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5EF95A2-728D-A049-91DE-CDD3C11B4CB1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241BF97-F3E8-2C41-8D83-077454953A5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1B4BAB6-FAAD-BA41-8450-398BD1279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6808" y="4620894"/>
            <a:ext cx="2822067" cy="257250"/>
          </a:xfrm>
        </p:spPr>
        <p:txBody>
          <a:bodyPr>
            <a:spAutoFit/>
          </a:bodyPr>
          <a:lstStyle>
            <a:lvl1pPr algn="r"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94883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 Descrip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992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9920" y="2067560"/>
            <a:ext cx="3312160" cy="3542958"/>
          </a:xfr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22640" y="1143000"/>
            <a:ext cx="3312160" cy="594137"/>
          </a:xfrm>
        </p:spPr>
        <p:txBody>
          <a:bodyPr wrap="square">
            <a:spAutoFit/>
          </a:bodyPr>
          <a:lstStyle>
            <a:lvl1pPr>
              <a:defRPr sz="18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22640" y="2067560"/>
            <a:ext cx="3312160" cy="3542958"/>
          </a:xfrm>
        </p:spPr>
        <p:txBody>
          <a:bodyPr wrap="square">
            <a:spAutoFit/>
          </a:bodyPr>
          <a:lstStyle>
            <a:lvl1pPr>
              <a:defRPr sz="14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,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etia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donec</a:t>
            </a:r>
            <a:r>
              <a:rPr lang="en-US"/>
              <a:t>. </a:t>
            </a:r>
            <a:r>
              <a:rPr lang="en-US" err="1"/>
              <a:t>Netus</a:t>
            </a:r>
            <a:r>
              <a:rPr lang="en-US"/>
              <a:t> diam </a:t>
            </a:r>
            <a:r>
              <a:rPr lang="en-US" err="1"/>
              <a:t>massa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proin</a:t>
            </a:r>
            <a:r>
              <a:rPr lang="en-US"/>
              <a:t> fermentum </a:t>
            </a:r>
            <a:r>
              <a:rPr lang="en-US" err="1"/>
              <a:t>egestas</a:t>
            </a:r>
            <a:r>
              <a:rPr lang="en-US"/>
              <a:t> et </a:t>
            </a:r>
            <a:r>
              <a:rPr lang="en-US" err="1"/>
              <a:t>quis</a:t>
            </a:r>
            <a:r>
              <a:rPr lang="en-US"/>
              <a:t>. </a:t>
            </a:r>
            <a:r>
              <a:rPr lang="en-US" err="1"/>
              <a:t>Nec</a:t>
            </a:r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74046861-98EF-8743-9C12-267EC1D8E7B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57200" y="2730381"/>
            <a:ext cx="3614738" cy="13716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400" baseline="0">
                <a:latin typeface="+mn-lt"/>
              </a:defRPr>
            </a:lvl1pPr>
          </a:lstStyle>
          <a:p>
            <a:r>
              <a:rPr lang="en-US"/>
              <a:t>Click icon to add BLACK &amp; WHITE PHOTO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8A666C02-EA3A-C441-B424-21DB595FE3C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57200" y="4238918"/>
            <a:ext cx="3614738" cy="13716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400" baseline="0">
                <a:latin typeface="+mn-lt"/>
              </a:defRPr>
            </a:lvl1pPr>
          </a:lstStyle>
          <a:p>
            <a:r>
              <a:rPr lang="en-US"/>
              <a:t>Click icon to add BLACK &amp; WHITE PHOTO</a:t>
            </a:r>
          </a:p>
        </p:txBody>
      </p:sp>
    </p:spTree>
    <p:extLst>
      <p:ext uri="{BB962C8B-B14F-4D97-AF65-F5344CB8AC3E}">
        <p14:creationId xmlns:p14="http://schemas.microsoft.com/office/powerpoint/2010/main" val="39531264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84340-BD33-8E44-99AA-6996388612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2895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FF8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631137FB-F149-DD41-B765-24A58A85DE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1291" y="1024301"/>
            <a:ext cx="609419" cy="545269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952A47A2-EF74-7B4A-948B-354D8CBA8096}"/>
              </a:ext>
            </a:extLst>
          </p:cNvPr>
          <p:cNvSpPr txBox="1">
            <a:spLocks/>
          </p:cNvSpPr>
          <p:nvPr userDrawn="1"/>
        </p:nvSpPr>
        <p:spPr>
          <a:xfrm>
            <a:off x="3894218" y="1786378"/>
            <a:ext cx="440356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sz="4800">
                <a:solidFill>
                  <a:schemeClr val="lt1"/>
                </a:solidFill>
              </a:rPr>
              <a:t>Disclaim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14BDE5-32F5-E643-A4FF-D09A52DA71E1}"/>
              </a:ext>
            </a:extLst>
          </p:cNvPr>
          <p:cNvSpPr/>
          <p:nvPr userDrawn="1"/>
        </p:nvSpPr>
        <p:spPr>
          <a:xfrm>
            <a:off x="2573605" y="5025323"/>
            <a:ext cx="7044791" cy="1146877"/>
          </a:xfrm>
          <a:prstGeom prst="rect">
            <a:avLst/>
          </a:prstGeom>
          <a:noFill/>
          <a:ln>
            <a:solidFill>
              <a:schemeClr val="accent3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spcAft>
                <a:spcPts val="600"/>
              </a:spcAft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This presentation was downloaded from Presales Stories. </a:t>
            </a:r>
          </a:p>
          <a:p>
            <a:pPr algn="ctr" defTabSz="914354"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Discover more content about EPAM’s Capabilities at </a:t>
            </a:r>
            <a:b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</a:br>
            <a:r>
              <a:rPr lang="en-US" sz="1600" b="1" u="sng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pa.ms/stories</a:t>
            </a:r>
            <a:endParaRPr lang="en-US" sz="1600" b="1">
              <a:solidFill>
                <a:schemeClr val="accent3">
                  <a:lumMod val="40000"/>
                  <a:lumOff val="60000"/>
                </a:schemeClr>
              </a:solidFill>
              <a:latin typeface="Calibri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B01F7317-9450-7F4E-8CF4-A6FAE6DBDD15}"/>
              </a:ext>
            </a:extLst>
          </p:cNvPr>
          <p:cNvSpPr txBox="1">
            <a:spLocks/>
          </p:cNvSpPr>
          <p:nvPr userDrawn="1"/>
        </p:nvSpPr>
        <p:spPr>
          <a:xfrm>
            <a:off x="2901517" y="2834448"/>
            <a:ext cx="6388966" cy="1604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All provided material can only be used under NDA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Slides can Contain Confidential Notes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Don’t Share As PPT</a:t>
            </a:r>
          </a:p>
        </p:txBody>
      </p:sp>
    </p:spTree>
    <p:extLst>
      <p:ext uri="{BB962C8B-B14F-4D97-AF65-F5344CB8AC3E}">
        <p14:creationId xmlns:p14="http://schemas.microsoft.com/office/powerpoint/2010/main" val="15502107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875002"/>
            <a:ext cx="5530850" cy="1107996"/>
          </a:xfrm>
        </p:spPr>
        <p:txBody>
          <a:bodyPr wrap="square">
            <a:spAutoFit/>
          </a:bodyPr>
          <a:lstStyle>
            <a:lvl1pPr>
              <a:defRPr sz="720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33460F-F216-4161-81D4-61770D4448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07338" y="2286000"/>
            <a:ext cx="3827462" cy="25725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For more information, contact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83A137D-51C1-42BD-8E6A-5A17CA8E69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07338" y="2746674"/>
            <a:ext cx="3827462" cy="2894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>
                <a:effectLst/>
              </a:rPr>
              <a:t>Victoria Morriso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88F9D7D-61B7-4023-A90A-331ABB6016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07338" y="3039391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Head of Marketing EMEA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5F31C29-0270-444C-AB5B-F5F8275A4E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07338" y="3661074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victoria_morrison@epam.com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B6A5DF8-022B-46A9-9257-DAA098142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07338" y="3948004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+1 000 000 000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CF17201-04E3-48ED-9077-B42ECD88DB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07338" y="4572000"/>
            <a:ext cx="3827462" cy="117307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Address line 1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2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3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Zip code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Country</a:t>
            </a:r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54B6A1A-ED6A-490A-AA56-15684042F07D}"/>
              </a:ext>
            </a:extLst>
          </p:cNvPr>
          <p:cNvCxnSpPr/>
          <p:nvPr userDrawn="1"/>
        </p:nvCxnSpPr>
        <p:spPr>
          <a:xfrm>
            <a:off x="6946900" y="2286000"/>
            <a:ext cx="0" cy="3534697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0681FC57-5C71-4F5A-AB2F-52FF92CEB4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069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1181100"/>
            <a:ext cx="4426771" cy="1107996"/>
          </a:xfrm>
        </p:spPr>
        <p:txBody>
          <a:bodyPr wrap="square">
            <a:spAutoFit/>
          </a:bodyPr>
          <a:lstStyle>
            <a:lvl1pPr>
              <a:defRPr sz="720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33460F-F216-4161-81D4-61770D4448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63" y="2717434"/>
            <a:ext cx="3827462" cy="25725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For more information, contact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83A137D-51C1-42BD-8E6A-5A17CA8E69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4663" y="3178108"/>
            <a:ext cx="3827462" cy="2894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>
                <a:effectLst/>
              </a:rPr>
              <a:t>Victoria Morriso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88F9D7D-61B7-4023-A90A-331ABB6016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4663" y="3470825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Head of Marketing EMEA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5F31C29-0270-444C-AB5B-F5F8275A4E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4663" y="4092508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victoria_morrison@epam.com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B6A5DF8-022B-46A9-9257-DAA098142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4663" y="4379438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+1 000 000 000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CF17201-04E3-48ED-9077-B42ECD88DB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4663" y="5003434"/>
            <a:ext cx="3827462" cy="117307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Address line 1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2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3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Zip code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Country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681FC57-5C71-4F5A-AB2F-52FF92CEB4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D26DCF78-A14C-7743-94BB-7E13C2AD86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812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94A4A7-1D42-43C4-8DAE-D39D601741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B7CA8-C6E3-4D9A-BDD1-5A660A9FF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CF7C84-314E-4FB2-901C-E4AD0E7593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4E24727-48EE-48AA-9B6F-F26524FCE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8BC4A81-2FF3-4AC4-8F40-4F95105F59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53DF3A1-A093-468B-B30D-D2DB4C159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F2C7208-C4AB-4962-96F0-F897DFFC37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5DCFC83-97AB-BE40-9059-9CE8B202173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040CC96-6026-B04A-A42D-A7A8F52BBA69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E04C751-FBC9-3B46-AAD4-46BD8DFA5D3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43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DE24B927-3EC2-4323-B375-35AD1C731AD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2503D5-C016-4D7F-83A5-0A293996B8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74065B5-82CF-0942-A54C-2DA21F89667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481E60FF-59F4-A045-B79D-392594C3A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E107DFBB-2291-EC41-BE16-FC9C5276EA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D13EC089-F387-EA41-87D3-D7758396AE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C0E4EA0-AEC6-2040-9DC8-9823144C8D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019E3807-3E52-E344-BE1D-80D26E0087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CB1D9E5D-6DB8-F543-AD52-933C5C991D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DCAEE080-41A6-D445-8E6D-2AF68332C8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24A6FF9-0ADC-3D4D-B95A-23ED94770A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17202BF7-08E8-0642-B5BB-1D4E28A491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1DF2E15-278E-BB41-AB8F-A0A51FACFD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770D617C-6EF1-9847-9E19-F322FAC38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C49568AB-E132-0347-B868-577B88807D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BA277EC2-1880-A64A-8CD9-EAFCECD5EA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8C977B-490A-7A40-83B1-341231F1E4DA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46579F0-C0D7-394C-ABF4-CA5A1613E04C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659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897BD5-071C-4070-AB48-99AEFB09E7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7156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B0330134-8A98-4980-8768-0A6F67408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ile lorem ipsum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5AAE230-03E7-412A-8ABA-3FCF00210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D39377C-A4AF-4B79-9CA5-600FF7C9AA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81E7284-C854-184C-A06D-CACC02F73E92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A1A574-71CC-6640-9BC0-9339C3ABCCC1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89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C1C81F5-54D7-4540-9257-18BFF40092E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2C8D4D26-39BC-439E-9736-9CE3385DD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33501BA-291D-41ED-BCBD-8B23A9C86C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D9AC8-F415-4F41-81BB-33EEA9AD7083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CAD51B5-4F0B-1246-8F71-7B2D95B954E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B932DC-E0AB-5041-A632-07A26B0EB2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3828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</a:t>
            </a:r>
            <a:r>
              <a:rPr lang="en-US" dirty="0" err="1"/>
              <a:t>Ejjhdit</a:t>
            </a:r>
            <a:r>
              <a:rPr lang="en-US" dirty="0"/>
              <a:t>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B532318-7ECA-4FB6-ADB1-48895B543C86}"/>
              </a:ext>
            </a:extLst>
          </p:cNvPr>
          <p:cNvPicPr>
            <a:picLocks noChangeAspect="1"/>
          </p:cNvPicPr>
          <p:nvPr userDrawn="1"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8369E08-22C8-4CA0-8BC3-06B27EF317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3505" y="1181101"/>
            <a:ext cx="11274551" cy="4991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Edit Master text styles</a:t>
            </a:r>
          </a:p>
          <a:p>
            <a:pPr marL="182880" marR="0" lvl="1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6CDD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Second level</a:t>
            </a:r>
          </a:p>
          <a:p>
            <a:pPr marL="365760" marR="0" lvl="2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0A0A0"/>
              </a:buClr>
              <a:buSzTx/>
              <a:buFont typeface="Calibri" panose="020F0502020204030204" pitchFamily="34" charset="0"/>
              <a:buChar char="→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Third level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641FF6-5DCC-D34B-9DD7-29931472CBC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1DA6592-6579-C548-911C-85A5195E10BA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24FA9BDF-DF37-400E-B5C3-59CE8A1C6B6B}"/>
              </a:ext>
            </a:extLst>
          </p:cNvPr>
          <p:cNvSpPr/>
          <p:nvPr userDrawn="1">
            <p:custDataLst>
              <p:tags r:id="rId50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5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57" r:id="rId10"/>
    <p:sldLayoutId id="2147483760" r:id="rId11"/>
    <p:sldLayoutId id="2147483727" r:id="rId12"/>
    <p:sldLayoutId id="2147483729" r:id="rId13"/>
    <p:sldLayoutId id="2147483766" r:id="rId14"/>
    <p:sldLayoutId id="2147483751" r:id="rId15"/>
    <p:sldLayoutId id="2147483758" r:id="rId16"/>
    <p:sldLayoutId id="2147483767" r:id="rId17"/>
    <p:sldLayoutId id="2147483730" r:id="rId18"/>
    <p:sldLayoutId id="2147483731" r:id="rId19"/>
    <p:sldLayoutId id="2147483733" r:id="rId20"/>
    <p:sldLayoutId id="2147483740" r:id="rId21"/>
    <p:sldLayoutId id="2147483738" r:id="rId22"/>
    <p:sldLayoutId id="2147483736" r:id="rId23"/>
    <p:sldLayoutId id="2147483765" r:id="rId24"/>
    <p:sldLayoutId id="2147483744" r:id="rId25"/>
    <p:sldLayoutId id="2147483762" r:id="rId26"/>
    <p:sldLayoutId id="2147483755" r:id="rId27"/>
    <p:sldLayoutId id="2147483768" r:id="rId28"/>
    <p:sldLayoutId id="2147483743" r:id="rId29"/>
    <p:sldLayoutId id="2147483756" r:id="rId30"/>
    <p:sldLayoutId id="2147483734" r:id="rId31"/>
    <p:sldLayoutId id="2147483745" r:id="rId32"/>
    <p:sldLayoutId id="2147483741" r:id="rId33"/>
    <p:sldLayoutId id="2147483735" r:id="rId34"/>
    <p:sldLayoutId id="2147483737" r:id="rId35"/>
    <p:sldLayoutId id="2147483739" r:id="rId36"/>
    <p:sldLayoutId id="2147483742" r:id="rId37"/>
    <p:sldLayoutId id="2147483746" r:id="rId38"/>
    <p:sldLayoutId id="2147483732" r:id="rId39"/>
    <p:sldLayoutId id="2147483747" r:id="rId40"/>
    <p:sldLayoutId id="2147483748" r:id="rId41"/>
    <p:sldLayoutId id="2147483749" r:id="rId42"/>
    <p:sldLayoutId id="2147483759" r:id="rId43"/>
    <p:sldLayoutId id="2147483780" r:id="rId44"/>
    <p:sldLayoutId id="2147483761" r:id="rId45"/>
    <p:sldLayoutId id="2147483764" r:id="rId46"/>
    <p:sldLayoutId id="2147483750" r:id="rId47"/>
    <p:sldLayoutId id="2147483763" r:id="rId4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i="0" kern="1200">
          <a:solidFill>
            <a:schemeClr val="tx1"/>
          </a:solidFill>
          <a:latin typeface="+mj-lt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56" userDrawn="1">
          <p15:clr>
            <a:srgbClr val="F26B43"/>
          </p15:clr>
        </p15:guide>
        <p15:guide id="16" orient="horz" pos="144">
          <p15:clr>
            <a:srgbClr val="F26B43"/>
          </p15:clr>
        </p15:guide>
        <p15:guide id="17" orient="horz" pos="288">
          <p15:clr>
            <a:srgbClr val="F26B43"/>
          </p15:clr>
        </p15:guide>
        <p15:guide id="19" orient="horz" pos="576">
          <p15:clr>
            <a:srgbClr val="F26B43"/>
          </p15:clr>
        </p15:guide>
        <p15:guide id="20" orient="horz" pos="744" userDrawn="1">
          <p15:clr>
            <a:srgbClr val="F26B43"/>
          </p15:clr>
        </p15:guide>
        <p15:guide id="41" orient="horz" pos="3888">
          <p15:clr>
            <a:srgbClr val="F26B43"/>
          </p15:clr>
        </p15:guide>
        <p15:guide id="43" orient="horz" pos="4176">
          <p15:clr>
            <a:srgbClr val="F26B43"/>
          </p15:clr>
        </p15:guide>
        <p15:guide id="56" orient="horz">
          <p15:clr>
            <a:srgbClr val="F26B43"/>
          </p15:clr>
        </p15:guide>
        <p15:guide id="57" orient="horz" pos="4320">
          <p15:clr>
            <a:srgbClr val="F26B43"/>
          </p15:clr>
        </p15:guide>
        <p15:guide id="58" orient="horz" pos="4032">
          <p15:clr>
            <a:srgbClr val="F26B43"/>
          </p15:clr>
        </p15:guide>
        <p15:guide id="59" pos="288">
          <p15:clr>
            <a:srgbClr val="F26B43"/>
          </p15:clr>
        </p15:guide>
        <p15:guide id="61" pos="7392">
          <p15:clr>
            <a:srgbClr val="F26B43"/>
          </p15:clr>
        </p15:guide>
        <p15:guide id="64" pos="1354">
          <p15:clr>
            <a:srgbClr val="F26B43"/>
          </p15:clr>
        </p15:guide>
        <p15:guide id="65" pos="1498">
          <p15:clr>
            <a:srgbClr val="F26B43"/>
          </p15:clr>
        </p15:guide>
        <p15:guide id="68" pos="2712" userDrawn="1">
          <p15:clr>
            <a:srgbClr val="F26B43"/>
          </p15:clr>
        </p15:guide>
        <p15:guide id="69" pos="2568">
          <p15:clr>
            <a:srgbClr val="F26B43"/>
          </p15:clr>
        </p15:guide>
        <p15:guide id="72" pos="3772">
          <p15:clr>
            <a:srgbClr val="F26B43"/>
          </p15:clr>
        </p15:guide>
        <p15:guide id="73" pos="3919">
          <p15:clr>
            <a:srgbClr val="F26B43"/>
          </p15:clr>
        </p15:guide>
        <p15:guide id="76" pos="5112" userDrawn="1">
          <p15:clr>
            <a:srgbClr val="F26B43"/>
          </p15:clr>
        </p15:guide>
        <p15:guide id="77" pos="4968" userDrawn="1">
          <p15:clr>
            <a:srgbClr val="F26B43"/>
          </p15:clr>
        </p15:guide>
        <p15:guide id="80" pos="6186">
          <p15:clr>
            <a:srgbClr val="F26B43"/>
          </p15:clr>
        </p15:guide>
        <p15:guide id="81" pos="633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7DE665-95EF-7C44-9386-81441B656B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94261" y="4663440"/>
            <a:ext cx="5764213" cy="369332"/>
          </a:xfrm>
        </p:spPr>
        <p:txBody>
          <a:bodyPr/>
          <a:lstStyle/>
          <a:p>
            <a:r>
              <a:rPr lang="en-US" dirty="0"/>
              <a:t>Chris Xing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3BB777-E3A7-3349-B820-C2E473EC5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8584845" cy="2215991"/>
          </a:xfrm>
        </p:spPr>
        <p:txBody>
          <a:bodyPr>
            <a:spAutoFit/>
          </a:bodyPr>
          <a:lstStyle/>
          <a:p>
            <a:r>
              <a:rPr lang="en-US" sz="7200" dirty="0"/>
              <a:t>Engineering In Practice TypeScrip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E60A145-F330-D756-D9AB-7CD07E95CCDA}"/>
              </a:ext>
            </a:extLst>
          </p:cNvPr>
          <p:cNvSpPr/>
          <p:nvPr/>
        </p:nvSpPr>
        <p:spPr bwMode="auto">
          <a:xfrm>
            <a:off x="466165" y="4526977"/>
            <a:ext cx="642257" cy="642257"/>
          </a:xfrm>
          <a:prstGeom prst="ellipse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accent2"/>
            </a:solidFill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CN" sz="2400" dirty="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9713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3D74F-1CEF-5C67-5146-BBE39D4CC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 Literal Type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8CA22B-5B41-38EE-7A75-26BAFB5564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47F070-C208-4F7F-1E93-ACAF47F8102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537415"/>
            <a:ext cx="11280651" cy="3197029"/>
          </a:xfrm>
        </p:spPr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erticalAlign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top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middle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bottom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HorizontalAlign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lef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center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righ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endParaRPr lang="en-US" b="0" dirty="0">
              <a:solidFill>
                <a:srgbClr val="EFEFEF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Align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`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${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erticalAlignment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}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-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${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HorizontalAlignment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}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`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declar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setAlign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valu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Align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o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setAlign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top-lef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 </a:t>
            </a:r>
            <a:r>
              <a:rPr lang="en-US" b="0" dirty="0">
                <a:solidFill>
                  <a:srgbClr val="535A6B"/>
                </a:solidFill>
                <a:effectLst/>
                <a:latin typeface="FiraCode-Retina" panose="020B0809050000020004" pitchFamily="49" charset="0"/>
              </a:rPr>
              <a:t>// works!</a:t>
            </a:r>
            <a:endParaRPr lang="en-US" b="0" dirty="0">
              <a:solidFill>
                <a:srgbClr val="EFEFEF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setAlign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top-</a:t>
            </a:r>
            <a:r>
              <a:rPr lang="en-US" b="0" dirty="0" err="1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middel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 </a:t>
            </a:r>
            <a:r>
              <a:rPr lang="en-US" b="0" dirty="0">
                <a:solidFill>
                  <a:srgbClr val="535A6B"/>
                </a:solidFill>
                <a:effectLst/>
                <a:latin typeface="FiraCode-Retina" panose="020B0809050000020004" pitchFamily="49" charset="0"/>
              </a:rPr>
              <a:t>// error!</a:t>
            </a:r>
            <a:endParaRPr lang="en-US" b="0" dirty="0">
              <a:solidFill>
                <a:srgbClr val="EFEFEF"/>
              </a:solidFill>
              <a:effectLst/>
              <a:latin typeface="FiraCode-Retina" panose="020B08090500000200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91104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80D1C-F4B4-4140-1096-FEA306CC20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teral Types</a:t>
            </a:r>
            <a:endParaRPr lang="en-C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102E5D-C4BA-48C4-A5DF-CA6E368129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2F1E79-BCC6-B7E5-DD30-B1704F8E47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537415"/>
            <a:ext cx="11280651" cy="1061060"/>
          </a:xfrm>
        </p:spPr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declar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printTex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s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alignment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lef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righ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o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endParaRPr lang="en-CN" dirty="0"/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declar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printLevel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level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0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2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o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8295447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1F123-E339-27FB-AB23-BAEE9DC7F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teral Inference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F5D2F2-9155-A812-2300-FC9710EBEE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A2C6BE-D831-84F4-5AE2-F9F34AD3CA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declar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handleReque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rl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method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GE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POS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o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eq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rl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“https://</a:t>
            </a:r>
            <a:r>
              <a:rPr lang="en-US" b="0" dirty="0" err="1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example.com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”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method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“GET”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}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 a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 🚀</a:t>
            </a:r>
          </a:p>
          <a:p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handleReque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eq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rl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eq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metho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25721762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8B305C-7BF2-AB94-3B1C-71ABD0B5F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ic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C5CAAE-1D5D-6C4E-C759-CD1557D772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2EFF9B-7E74-B2E0-CC86-7163B4EEE67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async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getUs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() {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  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espons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awai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fetch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  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ser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awai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esponse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js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)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  retur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s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endParaRPr lang="en-US" b="0" dirty="0">
              <a:solidFill>
                <a:srgbClr val="399EF4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interfac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C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extend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cnOnly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serC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awai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getUs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C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();</a:t>
            </a:r>
          </a:p>
        </p:txBody>
      </p:sp>
    </p:spTree>
    <p:extLst>
      <p:ext uri="{BB962C8B-B14F-4D97-AF65-F5344CB8AC3E}">
        <p14:creationId xmlns:p14="http://schemas.microsoft.com/office/powerpoint/2010/main" val="41906722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594D65-3DD7-09BC-6167-95841779C9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Assertion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A24F9-6009-F0FD-A310-BFB7F221C7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126C57-9F7E-D054-85AC-FFCD59CEA6A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myCanva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document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getElementBy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</a:t>
            </a:r>
            <a:r>
              <a:rPr lang="en-US" b="0" dirty="0" err="1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main_canvas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a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HTMLCanvasEle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endParaRPr lang="en-CN" dirty="0"/>
          </a:p>
          <a:p>
            <a:r>
              <a:rPr lang="en-CN" dirty="0"/>
              <a:t>-- OR –</a:t>
            </a:r>
          </a:p>
          <a:p>
            <a:endParaRPr lang="en-CN" dirty="0"/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myCanva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&lt;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HTMLCanvasEle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document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getElementBy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</a:t>
            </a:r>
            <a:r>
              <a:rPr lang="en-US" b="0" dirty="0" err="1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main_canvas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17345748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1E64C-8EAB-BEFB-FFC4-59E8EFFDA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null Assertion Operator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1A8D7A-2D73-B497-09F7-CFE705BD27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7EADA5-98E4-54D2-DC5C-AC2BB00838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elemen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document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getElementBy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roo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!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 🚀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element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innerHTML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! non-null assertion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40018565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1B70EF-0905-007E-1490-8E50C1BB0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t Hooks</a:t>
            </a:r>
            <a:endParaRPr lang="en-C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299C0-4044-2210-F01E-C13DEF1F8C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F02AB6-6CBF-D798-32B8-84019AE356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537415"/>
            <a:ext cx="11280651" cy="4341958"/>
          </a:xfrm>
        </p:spPr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[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s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setUs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]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useStat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ll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(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null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  <a:p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setUs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newUs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  <a:p>
            <a:endParaRPr lang="en-US" dirty="0">
              <a:solidFill>
                <a:srgbClr val="EFEFEF"/>
              </a:solidFill>
              <a:latin typeface="FiraCode-Retina" panose="020B0809050000020004" pitchFamily="49" charset="0"/>
            </a:endParaRP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-- AND --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interfac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GlobalContextProp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orders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Product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addOrd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order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Produc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o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removeOrd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orderID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Produc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[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</a:t>
            </a:r>
            <a:r>
              <a:rPr lang="en-US" b="0" dirty="0" err="1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uuid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]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o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GlobalContex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createContex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GlobalContextProp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(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null!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2614424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8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1CF9D141-DFD9-5E75-EA04-293C1D40CA86}"/>
              </a:ext>
            </a:extLst>
          </p:cNvPr>
          <p:cNvGrpSpPr/>
          <p:nvPr/>
        </p:nvGrpSpPr>
        <p:grpSpPr>
          <a:xfrm>
            <a:off x="-2871167" y="0"/>
            <a:ext cx="13895733" cy="6858000"/>
            <a:chOff x="-1945434" y="0"/>
            <a:chExt cx="11484077" cy="6858000"/>
          </a:xfrm>
        </p:grpSpPr>
        <p:sp>
          <p:nvSpPr>
            <p:cNvPr id="3" name="Parallelogram 2">
              <a:extLst>
                <a:ext uri="{FF2B5EF4-FFF2-40B4-BE49-F238E27FC236}">
                  <a16:creationId xmlns:a16="http://schemas.microsoft.com/office/drawing/2014/main" id="{F9BEF865-1FF5-B8B7-74E6-67063052092C}"/>
                </a:ext>
              </a:extLst>
            </p:cNvPr>
            <p:cNvSpPr/>
            <p:nvPr/>
          </p:nvSpPr>
          <p:spPr bwMode="auto">
            <a:xfrm>
              <a:off x="-1945434" y="0"/>
              <a:ext cx="9950955" cy="6858000"/>
            </a:xfrm>
            <a:prstGeom prst="parallelogram">
              <a:avLst>
                <a:gd name="adj" fmla="val 35741"/>
              </a:avLst>
            </a:prstGeom>
            <a:solidFill>
              <a:schemeClr val="accent2"/>
            </a:solidFill>
            <a:ln>
              <a:noFill/>
            </a:ln>
            <a:effectLst/>
          </p:spPr>
          <p:txBody>
            <a:bodyPr vert="horz" wrap="square" lIns="0" tIns="0" rIns="0" bIns="0" rtlCol="0" anchor="ctr" anchorCtr="1"/>
            <a:lstStyle/>
            <a:p>
              <a:pPr algn="ctr"/>
              <a:r>
                <a:rPr lang="en-CN" sz="2400" dirty="0"/>
                <a:t>                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E7C7BB0-7780-BB85-256D-2FF296C3CE85}"/>
                </a:ext>
              </a:extLst>
            </p:cNvPr>
            <p:cNvSpPr txBox="1"/>
            <p:nvPr/>
          </p:nvSpPr>
          <p:spPr>
            <a:xfrm>
              <a:off x="3352084" y="2989333"/>
              <a:ext cx="2926156" cy="738664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800" dirty="0">
                  <a:solidFill>
                    <a:schemeClr val="bg1"/>
                  </a:solidFill>
                </a:rPr>
                <a:t>F</a:t>
              </a:r>
              <a:r>
                <a:rPr lang="en-CN" sz="4800" dirty="0">
                  <a:solidFill>
                    <a:schemeClr val="bg1"/>
                  </a:solidFill>
                </a:rPr>
                <a:t>undamental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8D7B35E-C986-DE2A-3111-1A9672ED6FC0}"/>
                </a:ext>
              </a:extLst>
            </p:cNvPr>
            <p:cNvSpPr txBox="1"/>
            <p:nvPr/>
          </p:nvSpPr>
          <p:spPr>
            <a:xfrm>
              <a:off x="7694527" y="2989333"/>
              <a:ext cx="1844116" cy="738664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800" dirty="0">
                  <a:solidFill>
                    <a:schemeClr val="bg1"/>
                  </a:solidFill>
                </a:rPr>
                <a:t>In Action</a:t>
              </a:r>
              <a:endParaRPr lang="en-CN" sz="48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9279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 0 E" pathEditMode="relative" ptsTypes="">
                                      <p:cBhvr>
                                        <p:cTn id="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74FC3-CA44-4640-7263-A186F47BB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imitives</a:t>
            </a:r>
            <a:endParaRPr lang="en-CN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842920F-D0A6-D663-53B1-D41FC75E659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461999"/>
            <a:ext cx="11280651" cy="1061060"/>
          </a:xfrm>
        </p:spPr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hello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Hello, world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ag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42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checked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boolea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tru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9A65396-8389-7066-C38B-0C85CBF76FB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1978693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747EC-1CFC-FBAB-D0A2-397C136E8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ays</a:t>
            </a:r>
            <a:endParaRPr lang="en-C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F739A5C-DB05-EFFE-7ADC-3524ED619A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1EB3E6-9536-3C57-6A28-72709DF9B83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461999"/>
            <a:ext cx="11280651" cy="2587631"/>
          </a:xfrm>
        </p:spPr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frameworks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[]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[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Reac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Vue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Solid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]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anges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[]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[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0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00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];</a:t>
            </a:r>
          </a:p>
          <a:p>
            <a:endParaRPr lang="en-US" dirty="0">
              <a:solidFill>
                <a:srgbClr val="EFEFEF"/>
              </a:solidFill>
              <a:latin typeface="FiraCode-Retina" panose="020B0809050000020004" pitchFamily="49" charset="0"/>
            </a:endParaRPr>
          </a:p>
          <a:p>
            <a:r>
              <a:rPr lang="en-US" dirty="0">
                <a:solidFill>
                  <a:srgbClr val="EFEFEF"/>
                </a:solidFill>
                <a:latin typeface="FiraCode-Retina" panose="020B0809050000020004" pitchFamily="49" charset="0"/>
              </a:rPr>
              <a:t>-- OR –-</a:t>
            </a:r>
          </a:p>
          <a:p>
            <a:endParaRPr lang="en-US" b="0" dirty="0">
              <a:solidFill>
                <a:srgbClr val="399EF4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frameworksGeneric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Array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[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React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Vue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Solid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]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rangesGeneric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Array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[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0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00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];</a:t>
            </a:r>
          </a:p>
        </p:txBody>
      </p:sp>
    </p:spTree>
    <p:extLst>
      <p:ext uri="{BB962C8B-B14F-4D97-AF65-F5344CB8AC3E}">
        <p14:creationId xmlns:p14="http://schemas.microsoft.com/office/powerpoint/2010/main" val="4123008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935A9-92A8-4DB4-B286-27B1B2E0EE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5E6D5F-1941-82E7-8ABA-FB996B527E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BAAD47-8BC8-FCB0-E913-0ED0650A6C9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interfac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Prop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nam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years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fulltim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boolea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ser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Prop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name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Chris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years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4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fulltime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tru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};</a:t>
            </a:r>
          </a:p>
        </p:txBody>
      </p:sp>
    </p:spTree>
    <p:extLst>
      <p:ext uri="{BB962C8B-B14F-4D97-AF65-F5344CB8AC3E}">
        <p14:creationId xmlns:p14="http://schemas.microsoft.com/office/powerpoint/2010/main" val="17858455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A4E63-739D-6916-A22B-9A783BA3AD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onal Propertie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6E8915-AE03-947D-20D2-074D654E7C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72310D-0805-6F16-5DB9-6DFC6B515C9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interfac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PropsOptional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nam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?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years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?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  fulltim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?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boolea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PropsOptionalGeneric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Partial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Props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&gt;;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userOptional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UserPropsOptionalGeneric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name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Chris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};</a:t>
            </a:r>
          </a:p>
        </p:txBody>
      </p:sp>
    </p:spTree>
    <p:extLst>
      <p:ext uri="{BB962C8B-B14F-4D97-AF65-F5344CB8AC3E}">
        <p14:creationId xmlns:p14="http://schemas.microsoft.com/office/powerpoint/2010/main" val="19144292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08440-6D70-D2E2-A39E-310647B5B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21601D-96F7-CDA9-7B18-3E121737D5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033699-93F6-6F6C-7D18-F72ED09DF3B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gree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nam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  retur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nam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greet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(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name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&gt;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nam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1438013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9CA51-A9F6-379A-BABB-314DC252A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on Type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B4396D-F2FF-BDA0-4E51-031E900597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A55BFD-F7BE-9FEB-0DA1-8B3372B0C02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537415"/>
            <a:ext cx="11280651" cy="4341958"/>
          </a:xfrm>
        </p:spPr>
        <p:txBody>
          <a:bodyPr>
            <a:spAutoFit/>
          </a:bodyPr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print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id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 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void</a:t>
            </a:r>
            <a:r>
              <a:rPr lang="en-US" dirty="0">
                <a:solidFill>
                  <a:srgbClr val="EFEFEF"/>
                </a:solidFill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{</a:t>
            </a:r>
          </a:p>
          <a:p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 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console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lo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Your ID is: 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+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endParaRPr lang="en-US" b="0" i="1" dirty="0">
              <a:solidFill>
                <a:srgbClr val="535A6B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>
                <a:solidFill>
                  <a:srgbClr val="535A6B"/>
                </a:solidFill>
                <a:effectLst/>
                <a:latin typeface="FiraCode-Retina" panose="020B0809050000020004" pitchFamily="49" charset="0"/>
              </a:rPr>
              <a:t>// OK</a:t>
            </a:r>
            <a:endParaRPr lang="en-US" b="0" dirty="0">
              <a:solidFill>
                <a:srgbClr val="EFEFEF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print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101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535A6B"/>
                </a:solidFill>
                <a:effectLst/>
                <a:latin typeface="FiraCode-Retina" panose="020B0809050000020004" pitchFamily="49" charset="0"/>
              </a:rPr>
              <a:t>// OK</a:t>
            </a:r>
            <a:endParaRPr lang="en-US" b="0" dirty="0">
              <a:solidFill>
                <a:srgbClr val="EFEFEF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print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202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535A6B"/>
                </a:solidFill>
                <a:effectLst/>
                <a:latin typeface="FiraCode-Retina" panose="020B0809050000020004" pitchFamily="49" charset="0"/>
              </a:rPr>
              <a:t>// Error</a:t>
            </a:r>
            <a:endParaRPr lang="en-US" b="0" dirty="0">
              <a:solidFill>
                <a:srgbClr val="EFEFEF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 err="1">
                <a:solidFill>
                  <a:srgbClr val="FFF099"/>
                </a:solidFill>
                <a:effectLst/>
                <a:latin typeface="FiraCode-Retina" panose="020B0809050000020004" pitchFamily="49" charset="0"/>
              </a:rPr>
              <a:t>print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{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myID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E5949B"/>
                </a:solidFill>
                <a:effectLst/>
                <a:latin typeface="FiraCode-Retina" panose="020B0809050000020004" pitchFamily="49" charset="0"/>
              </a:rPr>
              <a:t>22342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});</a:t>
            </a:r>
          </a:p>
        </p:txBody>
      </p:sp>
    </p:spTree>
    <p:extLst>
      <p:ext uri="{BB962C8B-B14F-4D97-AF65-F5344CB8AC3E}">
        <p14:creationId xmlns:p14="http://schemas.microsoft.com/office/powerpoint/2010/main" val="32173986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BDDB9-12D0-6B69-8A1B-45AD7221B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Aliase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CFF688-6CCB-68E0-83D9-CD51DF6ABC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4AE603-08CA-1EB3-33E5-1EABCD7AE5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b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print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id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B071"/>
                </a:solidFill>
                <a:effectLst/>
                <a:latin typeface="FiraCode-Retina" panose="020B0809050000020004" pitchFamily="49" charset="0"/>
              </a:rPr>
              <a:t>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 {</a:t>
            </a:r>
          </a:p>
          <a:p>
            <a:r>
              <a:rPr lang="zh-CN" alt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  </a:t>
            </a:r>
            <a:r>
              <a:rPr lang="en-US" b="0" dirty="0" err="1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console</a:t>
            </a:r>
            <a:r>
              <a:rPr lang="en-US" b="0" dirty="0" err="1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.</a:t>
            </a:r>
            <a:r>
              <a:rPr lang="en-US" b="0" dirty="0" err="1">
                <a:solidFill>
                  <a:srgbClr val="21C5C7"/>
                </a:solidFill>
                <a:effectLst/>
                <a:latin typeface="FiraCode-Retina" panose="020B0809050000020004" pitchFamily="49" charset="0"/>
              </a:rPr>
              <a:t>log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A6771"/>
                </a:solidFill>
                <a:effectLst/>
                <a:latin typeface="FiraCode-Retina" panose="020B0809050000020004" pitchFamily="49" charset="0"/>
              </a:rPr>
              <a:t>"Your ID is: "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99EF4"/>
                </a:solidFill>
                <a:effectLst/>
                <a:latin typeface="FiraCode-Retina" panose="020B0809050000020004" pitchFamily="49" charset="0"/>
              </a:rPr>
              <a:t>+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9FCFF9"/>
                </a:solidFill>
                <a:effectLst/>
                <a:latin typeface="FiraCode-Retina" panose="020B0809050000020004" pitchFamily="49" charset="0"/>
              </a:rPr>
              <a:t>id</a:t>
            </a:r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);</a:t>
            </a:r>
          </a:p>
          <a:p>
            <a:r>
              <a:rPr lang="en-US" b="0" dirty="0">
                <a:solidFill>
                  <a:srgbClr val="EFEFEF"/>
                </a:solidFill>
                <a:effectLst/>
                <a:latin typeface="FiraCode-Retina" panose="020B08090500000200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166991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LASTDOWNLOADED" val="01.01.0001 00:00:00"/>
  <p:tag name="MIO_FALLBACK_LAYOUT" val="1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48"/>
</p:tagLst>
</file>

<file path=ppt/theme/theme1.xml><?xml version="1.0" encoding="utf-8"?>
<a:theme xmlns:a="http://schemas.openxmlformats.org/drawingml/2006/main" name="EPAM Master 2021.2">
  <a:themeElements>
    <a:clrScheme name="Custom 3">
      <a:dk1>
        <a:srgbClr val="222222"/>
      </a:dk1>
      <a:lt1>
        <a:srgbClr val="FFFFFF"/>
      </a:lt1>
      <a:dk2>
        <a:srgbClr val="A0A0A0"/>
      </a:dk2>
      <a:lt2>
        <a:srgbClr val="F6F6F6"/>
      </a:lt2>
      <a:accent1>
        <a:srgbClr val="222222"/>
      </a:accent1>
      <a:accent2>
        <a:srgbClr val="76CDD8"/>
      </a:accent2>
      <a:accent3>
        <a:srgbClr val="FFC000"/>
      </a:accent3>
      <a:accent4>
        <a:srgbClr val="445464"/>
      </a:accent4>
      <a:accent5>
        <a:srgbClr val="008ACE"/>
      </a:accent5>
      <a:accent6>
        <a:srgbClr val="38C2D7"/>
      </a:accent6>
      <a:hlink>
        <a:srgbClr val="76CDD8"/>
      </a:hlink>
      <a:folHlink>
        <a:srgbClr val="A0A0A0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square" lIns="0" tIns="0" rIns="0" bIns="0" rtlCol="0" anchor="ctr"/>
      <a:lstStyle>
        <a:defPPr algn="ctr">
          <a:defRPr sz="2400" dirty="0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>
        <a:spAutoFit/>
      </a:bodyPr>
      <a:lstStyle>
        <a:defPPr algn="l">
          <a:defRPr dirty="0" smtClean="0"/>
        </a:defPPr>
      </a:lstStyle>
    </a:txDef>
  </a:objectDefaults>
  <a:extraClrSchemeLst/>
  <a:custClrLst>
    <a:custClr name="PALINA BLUE">
      <a:srgbClr val="A9C9D7"/>
    </a:custClr>
    <a:custClr name="DARK PURPLE ">
      <a:srgbClr val="8A7CBB"/>
    </a:custClr>
    <a:custClr name="LIGHT PURPLE">
      <a:srgbClr val="AE9BD8"/>
    </a:custClr>
    <a:custClr name="BRIGHT CORAL">
      <a:srgbClr val="FF4E33"/>
    </a:custClr>
    <a:custClr name="EPAM CORAL">
      <a:srgbClr val="FF8468"/>
    </a:custClr>
    <a:custClr name="BRIGHT ORANGE">
      <a:srgbClr val="FF8500"/>
    </a:custClr>
    <a:custClr name="ORANGE ">
      <a:srgbClr val="FFA436"/>
    </a:custClr>
    <a:custClr name="DARK GREEN">
      <a:srgbClr val="62A230"/>
    </a:custClr>
    <a:custClr name="BRIGHT GREEN">
      <a:srgbClr val="9BC838"/>
    </a:custClr>
    <a:custClr name="LIME GREEN">
      <a:srgbClr val="C8DE49"/>
    </a:custClr>
  </a:custClrLst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f44d29e-ce0d-48fd-88bf-98e6a958fd4b">
      <UserInfo>
        <DisplayName>Anzhalika Levandouskaya</DisplayName>
        <AccountId>19</AccountId>
        <AccountType/>
      </UserInfo>
      <UserInfo>
        <DisplayName>EPAM all Members</DisplayName>
        <AccountId>172</AccountId>
        <AccountType/>
      </UserInfo>
      <UserInfo>
        <DisplayName>EPAM all Members</DisplayName>
        <AccountId>171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117DE914E1FC49A35D90CD8516D943" ma:contentTypeVersion="12" ma:contentTypeDescription="Create a new document." ma:contentTypeScope="" ma:versionID="e1f7c3316c007ddcbbfc786aee0f30b6">
  <xsd:schema xmlns:xsd="http://www.w3.org/2001/XMLSchema" xmlns:xs="http://www.w3.org/2001/XMLSchema" xmlns:p="http://schemas.microsoft.com/office/2006/metadata/properties" xmlns:ns2="58f349b0-675b-4c01-8ee6-14db8fa12501" xmlns:ns3="df44d29e-ce0d-48fd-88bf-98e6a958fd4b" targetNamespace="http://schemas.microsoft.com/office/2006/metadata/properties" ma:root="true" ma:fieldsID="ebdd3e3611f83f5edb1b485483198b2e" ns2:_="" ns3:_="">
    <xsd:import namespace="58f349b0-675b-4c01-8ee6-14db8fa12501"/>
    <xsd:import namespace="df44d29e-ce0d-48fd-88bf-98e6a958fd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f349b0-675b-4c01-8ee6-14db8fa125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44d29e-ce0d-48fd-88bf-98e6a958fd4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12E3419-B313-4514-AD24-D56E1F80A63A}">
  <ds:schemaRefs>
    <ds:schemaRef ds:uri="http://purl.org/dc/terms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df44d29e-ce0d-48fd-88bf-98e6a958fd4b"/>
    <ds:schemaRef ds:uri="58f349b0-675b-4c01-8ee6-14db8fa12501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45DB04F-7584-4690-B257-DA90A69356DD}">
  <ds:schemaRefs>
    <ds:schemaRef ds:uri="58f349b0-675b-4c01-8ee6-14db8fa12501"/>
    <ds:schemaRef ds:uri="df44d29e-ce0d-48fd-88bf-98e6a958fd4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7CA341C-74C1-4577-8C96-EF2605DC526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94</TotalTime>
  <Words>620</Words>
  <Application>Microsoft Macintosh PowerPoint</Application>
  <PresentationFormat>Widescreen</PresentationFormat>
  <Paragraphs>106</Paragraphs>
  <Slides>16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Calibri Bold</vt:lpstr>
      <vt:lpstr>Arial</vt:lpstr>
      <vt:lpstr>Calibri</vt:lpstr>
      <vt:lpstr>Calibri Light</vt:lpstr>
      <vt:lpstr>FiraCode-Retina</vt:lpstr>
      <vt:lpstr>EPAM Master 2021.2</vt:lpstr>
      <vt:lpstr>Engineering In Practice TypeScript</vt:lpstr>
      <vt:lpstr>PowerPoint Presentation</vt:lpstr>
      <vt:lpstr>The Primitives</vt:lpstr>
      <vt:lpstr>Arrays</vt:lpstr>
      <vt:lpstr>Objects</vt:lpstr>
      <vt:lpstr>Optional Properties</vt:lpstr>
      <vt:lpstr>Functions</vt:lpstr>
      <vt:lpstr>Union Types</vt:lpstr>
      <vt:lpstr>Type Aliases</vt:lpstr>
      <vt:lpstr>Template Literal Types</vt:lpstr>
      <vt:lpstr>Literal Types</vt:lpstr>
      <vt:lpstr>Literal Inference</vt:lpstr>
      <vt:lpstr>Generics</vt:lpstr>
      <vt:lpstr>Type Assertions</vt:lpstr>
      <vt:lpstr>Non-null Assertion Operator</vt:lpstr>
      <vt:lpstr>React Hoo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lina Vilava</dc:creator>
  <cp:lastModifiedBy>Chris Xing</cp:lastModifiedBy>
  <cp:revision>20</cp:revision>
  <dcterms:created xsi:type="dcterms:W3CDTF">2020-10-27T12:12:11Z</dcterms:created>
  <dcterms:modified xsi:type="dcterms:W3CDTF">2023-02-16T01:1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117DE914E1FC49A35D90CD8516D943</vt:lpwstr>
  </property>
</Properties>
</file>